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7.xml" ContentType="application/vnd.openxmlformats-officedocument.theme+xml"/>
  <Override PartName="/ppt/tags/tag12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9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0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1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2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4"/>
    <p:sldMasterId id="2147483734" r:id="rId5"/>
    <p:sldMasterId id="2147483750" r:id="rId6"/>
    <p:sldMasterId id="2147483782" r:id="rId7"/>
    <p:sldMasterId id="2147483797" r:id="rId8"/>
    <p:sldMasterId id="2147483828" r:id="rId9"/>
    <p:sldMasterId id="2147483845" r:id="rId10"/>
    <p:sldMasterId id="2147483926" r:id="rId11"/>
    <p:sldMasterId id="2147483958" r:id="rId12"/>
    <p:sldMasterId id="2147483990" r:id="rId13"/>
    <p:sldMasterId id="2147484006" r:id="rId14"/>
    <p:sldMasterId id="2147484055" r:id="rId15"/>
    <p:sldMasterId id="2147484070" r:id="rId16"/>
    <p:sldMasterId id="2147484086" r:id="rId17"/>
    <p:sldMasterId id="2147484101" r:id="rId18"/>
  </p:sldMasterIdLst>
  <p:notesMasterIdLst>
    <p:notesMasterId r:id="rId22"/>
  </p:notesMasterIdLst>
  <p:sldIdLst>
    <p:sldId id="378" r:id="rId19"/>
    <p:sldId id="11018" r:id="rId20"/>
    <p:sldId id="11019" r:id="rId21"/>
  </p:sldIdLst>
  <p:sldSz cx="11522075" cy="6480175"/>
  <p:notesSz cx="6797675" cy="9926638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1996" userDrawn="1">
          <p15:clr>
            <a:srgbClr val="A4A3A4"/>
          </p15:clr>
        </p15:guide>
        <p15:guide id="4" orient="horz" pos="408">
          <p15:clr>
            <a:srgbClr val="A4A3A4"/>
          </p15:clr>
        </p15:guide>
        <p15:guide id="5" pos="6940">
          <p15:clr>
            <a:srgbClr val="A4A3A4"/>
          </p15:clr>
        </p15:guide>
        <p15:guide id="6" pos="1134" userDrawn="1">
          <p15:clr>
            <a:srgbClr val="A4A3A4"/>
          </p15:clr>
        </p15:guide>
        <p15:guide id="7" pos="6441">
          <p15:clr>
            <a:srgbClr val="A4A3A4"/>
          </p15:clr>
        </p15:guide>
        <p15:guide id="8" pos="3334" userDrawn="1">
          <p15:clr>
            <a:srgbClr val="A4A3A4"/>
          </p15:clr>
        </p15:guide>
        <p15:guide id="9" pos="3448" userDrawn="1">
          <p15:clr>
            <a:srgbClr val="A4A3A4"/>
          </p15:clr>
        </p15:guide>
        <p15:guide id="10" pos="2631">
          <p15:clr>
            <a:srgbClr val="A4A3A4"/>
          </p15:clr>
        </p15:guide>
        <p15:guide id="11" pos="2813">
          <p15:clr>
            <a:srgbClr val="A4A3A4"/>
          </p15:clr>
        </p15:guide>
        <p15:guide id="12" pos="363" userDrawn="1">
          <p15:clr>
            <a:srgbClr val="A4A3A4"/>
          </p15:clr>
        </p15:guide>
        <p15:guide id="13" pos="5262">
          <p15:clr>
            <a:srgbClr val="A4A3A4"/>
          </p15:clr>
        </p15:guide>
        <p15:guide id="14" orient="horz" pos="1814" userDrawn="1">
          <p15:clr>
            <a:srgbClr val="A4A3A4"/>
          </p15:clr>
        </p15:guide>
        <p15:guide id="15" orient="horz" pos="14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1" name="Ketels, Björn" initials="KB" lastIdx="1" clrIdx="20">
    <p:extLst>
      <p:ext uri="{19B8F6BF-5375-455C-9EA6-DF929625EA0E}">
        <p15:presenceInfo xmlns:p15="http://schemas.microsoft.com/office/powerpoint/2012/main" userId="S::ketels@adesso.de::fb77f7f5-62e7-4ce7-b602-9ecafdd9f7d7" providerId="AD"/>
      </p:ext>
    </p:extLst>
  </p:cmAuthor>
  <p:cmAuthor id="1" name="Weber, Marvin" initials="WM" lastIdx="3" clrIdx="0">
    <p:extLst>
      <p:ext uri="{19B8F6BF-5375-455C-9EA6-DF929625EA0E}">
        <p15:presenceInfo xmlns:p15="http://schemas.microsoft.com/office/powerpoint/2012/main" userId="S-1-5-21-4045125846-2727825638-2781775964-35716" providerId="AD"/>
      </p:ext>
    </p:extLst>
  </p:cmAuthor>
  <p:cmAuthor id="2" name="Bonnmann, Benedikt" initials="BB" lastIdx="76" clrIdx="1">
    <p:extLst>
      <p:ext uri="{19B8F6BF-5375-455C-9EA6-DF929625EA0E}">
        <p15:presenceInfo xmlns:p15="http://schemas.microsoft.com/office/powerpoint/2012/main" userId="S::Benedikt.Bonnmann@adesso.de::ac3e1248-1ae6-45d5-9b75-6eb54e4454f5" providerId="AD"/>
      </p:ext>
    </p:extLst>
  </p:cmAuthor>
  <p:cmAuthor id="9" name="Breuer, Jochen Philipp" initials="BJP" lastIdx="16" clrIdx="8">
    <p:extLst>
      <p:ext uri="{19B8F6BF-5375-455C-9EA6-DF929625EA0E}">
        <p15:presenceInfo xmlns:p15="http://schemas.microsoft.com/office/powerpoint/2012/main" userId="S::Jochen.Breuer@adesso.de::92637949-98db-4e72-9906-bb32d01c1579" providerId="AD"/>
      </p:ext>
    </p:extLst>
  </p:cmAuthor>
  <p:cmAuthor id="10" name="Hans, Heinz" initials="HH" lastIdx="33" clrIdx="9">
    <p:extLst>
      <p:ext uri="{19B8F6BF-5375-455C-9EA6-DF929625EA0E}">
        <p15:presenceInfo xmlns:p15="http://schemas.microsoft.com/office/powerpoint/2012/main" userId="S-1-5-21-4045125846-2727825638-2781775964-77629" providerId="AD"/>
      </p:ext>
    </p:extLst>
  </p:cmAuthor>
  <p:cmAuthor id="11" name="Mertens, Christian" initials="MC" lastIdx="7" clrIdx="10">
    <p:extLst>
      <p:ext uri="{19B8F6BF-5375-455C-9EA6-DF929625EA0E}">
        <p15:presenceInfo xmlns:p15="http://schemas.microsoft.com/office/powerpoint/2012/main" userId="S::christian.mertens@adesso.de::1457d906-68ac-4820-9d34-a4fa067d4639" providerId="AD"/>
      </p:ext>
    </p:extLst>
  </p:cmAuthor>
  <p:cmAuthor id="5" name="Gawrikow, Helena" initials="GH" lastIdx="23" clrIdx="4">
    <p:extLst>
      <p:ext uri="{19B8F6BF-5375-455C-9EA6-DF929625EA0E}">
        <p15:presenceInfo xmlns:p15="http://schemas.microsoft.com/office/powerpoint/2012/main" userId="S::Helena.Gawrikow@adesso.de::d7abbff7-7750-4618-a402-acd3bff4a6e8" providerId="AD"/>
      </p:ext>
    </p:extLst>
  </p:cmAuthor>
  <p:cmAuthor id="20" name="Müller, Udo" initials="MU" lastIdx="1" clrIdx="19">
    <p:extLst>
      <p:ext uri="{19B8F6BF-5375-455C-9EA6-DF929625EA0E}">
        <p15:presenceInfo xmlns:p15="http://schemas.microsoft.com/office/powerpoint/2012/main" userId="S::Udo.Mueller@adesso.de::2e9f2a76-c80d-45e5-9b1e-12a8d73e444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7C71"/>
    <a:srgbClr val="4C667A"/>
    <a:srgbClr val="6A89BA"/>
    <a:srgbClr val="050504"/>
    <a:srgbClr val="FFFFFF"/>
    <a:srgbClr val="0D0D0D"/>
    <a:srgbClr val="000000"/>
    <a:srgbClr val="FCFCFC"/>
    <a:srgbClr val="68736B"/>
    <a:srgbClr val="DAE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0844" autoAdjust="0"/>
  </p:normalViewPr>
  <p:slideViewPr>
    <p:cSldViewPr snapToGrid="0" showGuides="1">
      <p:cViewPr varScale="1">
        <p:scale>
          <a:sx n="111" d="100"/>
          <a:sy n="111" d="100"/>
        </p:scale>
        <p:origin x="786" y="102"/>
      </p:cViewPr>
      <p:guideLst>
        <p:guide orient="horz" pos="227"/>
        <p:guide orient="horz" pos="952"/>
        <p:guide orient="horz" pos="1996"/>
        <p:guide orient="horz" pos="408"/>
        <p:guide pos="6940"/>
        <p:guide pos="1134"/>
        <p:guide pos="6441"/>
        <p:guide pos="3334"/>
        <p:guide pos="3448"/>
        <p:guide pos="2631"/>
        <p:guide pos="2813"/>
        <p:guide pos="363"/>
        <p:guide pos="5262"/>
        <p:guide orient="horz" pos="1814"/>
        <p:guide orient="horz" pos="140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3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08900-6234-440B-A027-38F10FF7E2F1}" type="datetimeFigureOut">
              <a:rPr lang="de-DE" smtClean="0"/>
              <a:t>12.03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2C3873-BA08-40A5-BDCC-B6406E6CD40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48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b="0" kern="1200">
        <a:solidFill>
          <a:schemeClr val="tx1"/>
        </a:solidFill>
        <a:latin typeface="Open Sans Semibold" panose="020B0706030804020204" pitchFamily="34" charset="0"/>
        <a:ea typeface="Open Sans Semibold" panose="020B0706030804020204" pitchFamily="34" charset="0"/>
        <a:cs typeface="Open Sans Semibold" panose="020B0706030804020204" pitchFamily="34" charset="0"/>
      </a:defRPr>
    </a:lvl1pPr>
    <a:lvl2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80000" algn="l" defTabSz="914400" rtl="0" eaLnBrk="1" latinLnBrk="0" hangingPunct="1">
      <a:defRPr sz="1400" i="1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2C3873-BA08-40A5-BDCC-B6406E6CD40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69619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2C3873-BA08-40A5-BDCC-B6406E6CD40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9561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551064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410796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5745540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40687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90658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51451" y="6232627"/>
            <a:ext cx="11465372" cy="89467"/>
            <a:chOff x="36485" y="6594892"/>
            <a:chExt cx="16122687" cy="94683"/>
          </a:xfrm>
        </p:grpSpPr>
        <p:grpSp>
          <p:nvGrpSpPr>
            <p:cNvPr id="15" name="Group 321"/>
            <p:cNvGrpSpPr/>
            <p:nvPr/>
          </p:nvGrpSpPr>
          <p:grpSpPr>
            <a:xfrm>
              <a:off x="36485" y="6600606"/>
              <a:ext cx="12068093" cy="88969"/>
              <a:chOff x="-170626" y="0"/>
              <a:chExt cx="13508082" cy="166915"/>
            </a:xfrm>
          </p:grpSpPr>
          <p:sp>
            <p:nvSpPr>
              <p:cNvPr id="17" name="Parallelogram 322"/>
              <p:cNvSpPr/>
              <p:nvPr/>
            </p:nvSpPr>
            <p:spPr>
              <a:xfrm>
                <a:off x="-170626" y="0"/>
                <a:ext cx="4511619" cy="166915"/>
              </a:xfrm>
              <a:prstGeom prst="parallelogram">
                <a:avLst>
                  <a:gd name="adj" fmla="val 114362"/>
                </a:avLst>
              </a:prstGeom>
              <a:solidFill>
                <a:srgbClr val="6187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arallelogram 323"/>
              <p:cNvSpPr/>
              <p:nvPr/>
            </p:nvSpPr>
            <p:spPr>
              <a:xfrm>
                <a:off x="4340993" y="0"/>
                <a:ext cx="8996463" cy="166915"/>
              </a:xfrm>
              <a:prstGeom prst="parallelogram">
                <a:avLst>
                  <a:gd name="adj" fmla="val 114362"/>
                </a:avLst>
              </a:prstGeom>
              <a:solidFill>
                <a:srgbClr val="66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6" name="Parallelogram 324"/>
            <p:cNvSpPr/>
            <p:nvPr/>
          </p:nvSpPr>
          <p:spPr>
            <a:xfrm>
              <a:off x="12128500" y="6594892"/>
              <a:ext cx="4030672" cy="88969"/>
            </a:xfrm>
            <a:prstGeom prst="parallelogram">
              <a:avLst>
                <a:gd name="adj" fmla="val 114362"/>
              </a:avLst>
            </a:prstGeom>
            <a:solidFill>
              <a:srgbClr val="857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01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862337"/>
      </p:ext>
    </p:extLst>
  </p:cSld>
  <p:clrMapOvr>
    <a:masterClrMapping/>
  </p:clrMapOvr>
  <p:transition spd="med">
    <p:pull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E5F0A11-E9AE-4A71-B363-96EB8B0DD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72" y="2005"/>
          <a:ext cx="1998" cy="1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E5F0A11-E9AE-4A71-B363-96EB8B0DD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2" y="2005"/>
                        <a:ext cx="1998" cy="19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E1A479-CB74-4059-BA7E-938F89141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64" y="355398"/>
            <a:ext cx="10809948" cy="371983"/>
          </a:xfrm>
          <a:prstGeom prst="rect">
            <a:avLst/>
          </a:prstGeom>
        </p:spPr>
        <p:txBody>
          <a:bodyPr lIns="68635" tIns="34317" rIns="68635" bIns="34317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40D87B-C596-4EF2-BB74-50F4CE3DF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Seite </a:t>
            </a:r>
            <a:fld id="{5B550D02-36FB-DB4F-A0A1-C5C3376DF5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5E09E9-8050-4634-9389-E6469E57AD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0064" y="1596067"/>
            <a:ext cx="10809948" cy="411811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32D658B4-AB48-4B88-98D8-5DA2ED5AB56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0" y="0"/>
            <a:ext cx="11522075" cy="276669"/>
          </a:xfrm>
        </p:spPr>
        <p:txBody>
          <a:bodyPr lIns="217672" tIns="2702" anchor="ctr"/>
          <a:lstStyle>
            <a:lvl1pPr>
              <a:defRPr sz="566" b="1">
                <a:solidFill>
                  <a:schemeClr val="bg2"/>
                </a:solidFill>
              </a:defRPr>
            </a:lvl1pPr>
            <a:lvl2pPr marL="168555" indent="0">
              <a:buNone/>
              <a:defRPr/>
            </a:lvl2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72359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818898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823723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6435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014170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1018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896922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4186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1204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1982820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585568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32521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5971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3660318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711200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4940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87275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951462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5377995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436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0449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43850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19388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74181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1475931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5158324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5587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740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8623898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6697316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3368119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61303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8439954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6690328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239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8602073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0639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9041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9039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58378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9796796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9872178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1281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48743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8074247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126865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83817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0553978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391934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2597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9572267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4862549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32587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237645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87474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4480767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018318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260693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93610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265127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35471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617957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356840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r>
              <a:rPr lang="de-DE"/>
              <a:t>19.10.2020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84141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1" y="2087564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1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548000"/>
            <a:ext cx="9432603" cy="432048"/>
          </a:xfrm>
        </p:spPr>
        <p:txBody>
          <a:bodyPr/>
          <a:lstStyle>
            <a:lvl1pPr marL="0" indent="0" algn="l">
              <a:buNone/>
              <a:defRPr sz="1849" b="0" spc="20" baseline="0">
                <a:solidFill>
                  <a:schemeClr val="accent1"/>
                </a:solidFill>
              </a:defRPr>
            </a:lvl1pPr>
            <a:lvl2pPr marL="457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1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1"/>
            <a:ext cx="9433088" cy="431903"/>
          </a:xfrm>
        </p:spPr>
        <p:txBody>
          <a:bodyPr/>
          <a:lstStyle>
            <a:lvl1pPr>
              <a:defRPr sz="2499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404624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923077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1" y="1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6" y="1044000"/>
            <a:ext cx="9432603" cy="432048"/>
          </a:xfrm>
        </p:spPr>
        <p:txBody>
          <a:bodyPr/>
          <a:lstStyle>
            <a:lvl1pPr marL="0" indent="0" algn="l">
              <a:buNone/>
              <a:defRPr sz="1849" b="0" spc="20" baseline="0">
                <a:solidFill>
                  <a:schemeClr val="bg1"/>
                </a:solidFill>
              </a:defRPr>
            </a:lvl1pPr>
            <a:lvl2pPr marL="457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1"/>
            <a:ext cx="9433088" cy="431903"/>
          </a:xfrm>
        </p:spPr>
        <p:txBody>
          <a:bodyPr/>
          <a:lstStyle>
            <a:lvl1pPr>
              <a:defRPr sz="2499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1" y="396001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799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37342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9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059535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5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108" indent="0">
              <a:buNone/>
              <a:defRPr sz="1999" b="1"/>
            </a:lvl2pPr>
            <a:lvl3pPr marL="914216" indent="0">
              <a:buNone/>
              <a:defRPr sz="1800" b="1"/>
            </a:lvl3pPr>
            <a:lvl4pPr marL="1371324" indent="0">
              <a:buNone/>
              <a:defRPr sz="1600" b="1"/>
            </a:lvl4pPr>
            <a:lvl5pPr marL="1828432" indent="0">
              <a:buNone/>
              <a:defRPr sz="1600" b="1"/>
            </a:lvl5pPr>
            <a:lvl6pPr marL="2285540" indent="0">
              <a:buNone/>
              <a:defRPr sz="1600" b="1"/>
            </a:lvl6pPr>
            <a:lvl7pPr marL="2742648" indent="0">
              <a:buNone/>
              <a:defRPr sz="1600" b="1"/>
            </a:lvl7pPr>
            <a:lvl8pPr marL="3199756" indent="0">
              <a:buNone/>
              <a:defRPr sz="1600" b="1"/>
            </a:lvl8pPr>
            <a:lvl9pPr marL="3656864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5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108" indent="0">
              <a:buNone/>
              <a:defRPr sz="1999" b="1"/>
            </a:lvl2pPr>
            <a:lvl3pPr marL="914216" indent="0">
              <a:buNone/>
              <a:defRPr sz="1800" b="1"/>
            </a:lvl3pPr>
            <a:lvl4pPr marL="1371324" indent="0">
              <a:buNone/>
              <a:defRPr sz="1600" b="1"/>
            </a:lvl4pPr>
            <a:lvl5pPr marL="1828432" indent="0">
              <a:buNone/>
              <a:defRPr sz="1600" b="1"/>
            </a:lvl5pPr>
            <a:lvl6pPr marL="2285540" indent="0">
              <a:buNone/>
              <a:defRPr sz="1600" b="1"/>
            </a:lvl6pPr>
            <a:lvl7pPr marL="2742648" indent="0">
              <a:buNone/>
              <a:defRPr sz="1600" b="1"/>
            </a:lvl7pPr>
            <a:lvl8pPr marL="3199756" indent="0">
              <a:buNone/>
              <a:defRPr sz="1600" b="1"/>
            </a:lvl8pPr>
            <a:lvl9pPr marL="3656864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96279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070812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466476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5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1" y="647800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3971" indent="-143971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3971" indent="-143971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7942" indent="-143971">
              <a:lnSpc>
                <a:spcPct val="120000"/>
              </a:lnSpc>
              <a:spcAft>
                <a:spcPts val="0"/>
              </a:spcAft>
              <a:defRPr sz="1399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852298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1012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199"/>
            </a:lvl1pPr>
            <a:lvl2pPr marL="457108" indent="0">
              <a:buNone/>
              <a:defRPr sz="2800"/>
            </a:lvl2pPr>
            <a:lvl3pPr marL="914216" indent="0">
              <a:buNone/>
              <a:defRPr sz="2399"/>
            </a:lvl3pPr>
            <a:lvl4pPr marL="1371324" indent="0">
              <a:buNone/>
              <a:defRPr sz="1999"/>
            </a:lvl4pPr>
            <a:lvl5pPr marL="1828432" indent="0">
              <a:buNone/>
              <a:defRPr sz="1999"/>
            </a:lvl5pPr>
            <a:lvl6pPr marL="2285540" indent="0">
              <a:buNone/>
              <a:defRPr sz="1999"/>
            </a:lvl6pPr>
            <a:lvl7pPr marL="2742648" indent="0">
              <a:buNone/>
              <a:defRPr sz="1999"/>
            </a:lvl7pPr>
            <a:lvl8pPr marL="3199756" indent="0">
              <a:buNone/>
              <a:defRPr sz="1999"/>
            </a:lvl8pPr>
            <a:lvl9pPr marL="3656864" indent="0">
              <a:buNone/>
              <a:defRPr sz="1999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1999" b="0"/>
            </a:lvl1pPr>
            <a:lvl2pPr marL="457108" indent="0">
              <a:buNone/>
              <a:defRPr sz="1200"/>
            </a:lvl2pPr>
            <a:lvl3pPr marL="914216" indent="0">
              <a:buNone/>
              <a:defRPr sz="1000"/>
            </a:lvl3pPr>
            <a:lvl4pPr marL="1371324" indent="0">
              <a:buNone/>
              <a:defRPr sz="900"/>
            </a:lvl4pPr>
            <a:lvl5pPr marL="1828432" indent="0">
              <a:buNone/>
              <a:defRPr sz="900"/>
            </a:lvl5pPr>
            <a:lvl6pPr marL="2285540" indent="0">
              <a:buNone/>
              <a:defRPr sz="900"/>
            </a:lvl6pPr>
            <a:lvl7pPr marL="2742648" indent="0">
              <a:buNone/>
              <a:defRPr sz="900"/>
            </a:lvl7pPr>
            <a:lvl8pPr marL="3199756" indent="0">
              <a:buNone/>
              <a:defRPr sz="900"/>
            </a:lvl8pPr>
            <a:lvl9pPr marL="3656864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1" y="647800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8392830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867914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501637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1" y="395999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483681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3971" indent="-143971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3971" indent="-143971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7942" indent="-143971">
              <a:lnSpc>
                <a:spcPct val="120000"/>
              </a:lnSpc>
              <a:spcAft>
                <a:spcPts val="0"/>
              </a:spcAft>
              <a:defRPr sz="1399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0804111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9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1" y="360364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499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1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9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1" y="2087564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203176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626692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860452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0085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415016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88090567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69569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43412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16581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1358849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9232009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03326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03829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8302728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178951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7849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60732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46420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2504200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1261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6590626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630030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330080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917383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5335127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4255188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0307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08471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394465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95280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4263937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70510772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982439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2641726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4947932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69506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009217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84878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4554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53225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50579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3887584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8873518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5405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10999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6187940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9150261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558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96677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505845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52840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35612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94081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5001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50063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7143F-636B-4446-9784-394F44F077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190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0277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201003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34635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9999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38774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41103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52222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62548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841368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706042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1655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7193260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82656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850813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327656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03524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459938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24366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0130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848774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997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4797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3505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4451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086239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48637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0380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138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995645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896026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469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019167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9371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7352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4830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674817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9288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24955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44689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207580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427792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81595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08602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14783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45076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619659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42716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7143F-636B-4446-9784-394F44F077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2534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674171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425116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8891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284334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10931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94211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386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8066362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62144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800090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29174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8325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052405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898175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2382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104" y="112839"/>
            <a:ext cx="10369868" cy="362675"/>
          </a:xfrm>
        </p:spPr>
        <p:txBody>
          <a:bodyPr/>
          <a:lstStyle/>
          <a:p>
            <a:r>
              <a:rPr lang="de-DE"/>
              <a:t>Einzeilige Überschrif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6104" y="660018"/>
            <a:ext cx="10369868" cy="5128639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8A96-99AD-184B-A8E8-77C65609B727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01145" y="6102992"/>
            <a:ext cx="7026819" cy="0"/>
          </a:xfrm>
          <a:prstGeom prst="line">
            <a:avLst/>
          </a:prstGeom>
          <a:ln w="44450" cap="rnd">
            <a:solidFill>
              <a:srgbClr val="CD0A1F"/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1485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118277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61298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383108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645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315613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70072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50831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98155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631814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821300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57631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02737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44439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w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tags" Target="../tags/tag18.xml"/><Relationship Id="rId3" Type="http://schemas.openxmlformats.org/officeDocument/2006/relationships/slideLayout" Target="../slideLayouts/slideLayout135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134.xml"/><Relationship Id="rId16" Type="http://schemas.openxmlformats.org/officeDocument/2006/relationships/vmlDrawing" Target="../drawings/vmlDrawing9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theme" Target="../theme/theme10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42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image" Target="../media/image3.w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tags" Target="../tags/tag19.xml"/><Relationship Id="rId3" Type="http://schemas.openxmlformats.org/officeDocument/2006/relationships/slideLayout" Target="../slideLayouts/slideLayout14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vmlDrawing" Target="../drawings/vmlDrawing10.vml"/><Relationship Id="rId2" Type="http://schemas.openxmlformats.org/officeDocument/2006/relationships/slideLayout" Target="../slideLayouts/slideLayout148.xml"/><Relationship Id="rId16" Type="http://schemas.openxmlformats.org/officeDocument/2006/relationships/theme" Target="../theme/theme11.xml"/><Relationship Id="rId20" Type="http://schemas.openxmlformats.org/officeDocument/2006/relationships/oleObject" Target="../embeddings/oleObject10.bin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image" Target="../media/image4.wmf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image" Target="../media/image3.wmf"/><Relationship Id="rId10" Type="http://schemas.openxmlformats.org/officeDocument/2006/relationships/slideLayout" Target="../slideLayouts/slideLayout156.xml"/><Relationship Id="rId19" Type="http://schemas.openxmlformats.org/officeDocument/2006/relationships/tags" Target="../tags/tag20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image" Target="../media/image2.w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18" Type="http://schemas.openxmlformats.org/officeDocument/2006/relationships/image" Target="../media/image4.wmf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image" Target="../media/image3.wmf"/><Relationship Id="rId2" Type="http://schemas.openxmlformats.org/officeDocument/2006/relationships/slideLayout" Target="../slideLayouts/slideLayout163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8.xml"/><Relationship Id="rId18" Type="http://schemas.openxmlformats.org/officeDocument/2006/relationships/tags" Target="../tags/tag22.xml"/><Relationship Id="rId3" Type="http://schemas.openxmlformats.org/officeDocument/2006/relationships/slideLayout" Target="../slideLayouts/slideLayout178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tags" Target="../tags/tag21.xml"/><Relationship Id="rId2" Type="http://schemas.openxmlformats.org/officeDocument/2006/relationships/slideLayout" Target="../slideLayouts/slideLayout177.xml"/><Relationship Id="rId16" Type="http://schemas.openxmlformats.org/officeDocument/2006/relationships/vmlDrawing" Target="../drawings/vmlDrawing1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80.xml"/><Relationship Id="rId15" Type="http://schemas.openxmlformats.org/officeDocument/2006/relationships/theme" Target="../theme/theme13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85.xml"/><Relationship Id="rId19" Type="http://schemas.openxmlformats.org/officeDocument/2006/relationships/oleObject" Target="../embeddings/oleObject11.bin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image" Target="../media/image3.w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192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tags" Target="../tags/tag23.xml"/><Relationship Id="rId2" Type="http://schemas.openxmlformats.org/officeDocument/2006/relationships/slideLayout" Target="../slideLayouts/slideLayout191.xml"/><Relationship Id="rId16" Type="http://schemas.openxmlformats.org/officeDocument/2006/relationships/vmlDrawing" Target="../drawings/vmlDrawing12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5" Type="http://schemas.openxmlformats.org/officeDocument/2006/relationships/theme" Target="../theme/theme14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99.xml"/><Relationship Id="rId19" Type="http://schemas.openxmlformats.org/officeDocument/2006/relationships/oleObject" Target="../embeddings/oleObject12.bin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image" Target="../media/image3.w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slideLayout" Target="../slideLayouts/slideLayout216.xml"/><Relationship Id="rId18" Type="http://schemas.openxmlformats.org/officeDocument/2006/relationships/image" Target="../media/image4.wmf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image" Target="../media/image3.wmf"/><Relationship Id="rId2" Type="http://schemas.openxmlformats.org/officeDocument/2006/relationships/slideLayout" Target="../slideLayouts/slideLayout205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08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4.wmf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3.wmf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2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31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3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39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3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46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45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heme" Target="../theme/theme4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53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image" Target="../media/image3.w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6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vmlDrawing" Target="../drawings/vmlDrawing5.vml"/><Relationship Id="rId2" Type="http://schemas.openxmlformats.org/officeDocument/2006/relationships/slideLayout" Target="../slideLayouts/slideLayout59.xml"/><Relationship Id="rId16" Type="http://schemas.openxmlformats.org/officeDocument/2006/relationships/theme" Target="../theme/theme5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image" Target="../media/image4.wmf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image" Target="../media/image3.wmf"/><Relationship Id="rId10" Type="http://schemas.openxmlformats.org/officeDocument/2006/relationships/slideLayout" Target="../slideLayouts/slideLayout67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image" Target="../media/image2.w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image" Target="../media/image3.w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74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90.xml"/><Relationship Id="rId21" Type="http://schemas.openxmlformats.org/officeDocument/2006/relationships/image" Target="../media/image4.wmf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image" Target="../media/image3.wmf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107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06.xml"/><Relationship Id="rId16" Type="http://schemas.openxmlformats.org/officeDocument/2006/relationships/vmlDrawing" Target="../drawings/vmlDrawing7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theme" Target="../theme/theme8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14.xml"/><Relationship Id="rId19" Type="http://schemas.openxmlformats.org/officeDocument/2006/relationships/oleObject" Target="../embeddings/oleObject7.bin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image" Target="../media/image3.w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21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120.xml"/><Relationship Id="rId16" Type="http://schemas.openxmlformats.org/officeDocument/2006/relationships/vmlDrawing" Target="../drawings/vmlDrawing8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theme" Target="../theme/theme9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28.xml"/><Relationship Id="rId19" Type="http://schemas.openxmlformats.org/officeDocument/2006/relationships/oleObject" Target="../embeddings/oleObject8.bin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image" Target="../media/image3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75353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880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  <p:sldLayoutId id="2147483687" r:id="rId13"/>
    <p:sldLayoutId id="2147483685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35114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1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7458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  <p:sldLayoutId id="2147484003" r:id="rId13"/>
    <p:sldLayoutId id="2147484004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50538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think-cell Folie" r:id="rId20" imgW="174" imgH="174" progId="TCLayout.ActiveDocument.1">
                  <p:embed/>
                </p:oleObj>
              </mc:Choice>
              <mc:Fallback>
                <p:oleObj name="think-cell Folie" r:id="rId20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602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  <p:sldLayoutId id="2147484018" r:id="rId12"/>
    <p:sldLayoutId id="2147484019" r:id="rId13"/>
    <p:sldLayoutId id="2147484020" r:id="rId14"/>
    <p:sldLayoutId id="2147484021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3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4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4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1" y="647800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1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9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209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7" r:id="rId12"/>
    <p:sldLayoutId id="2147484068" r:id="rId13"/>
    <p:sldLayoutId id="2147484069" r:id="rId14"/>
  </p:sldLayoutIdLst>
  <p:hf hdr="0"/>
  <p:txStyles>
    <p:titleStyle>
      <a:lvl1pPr algn="l" defTabSz="914216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21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399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21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399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1949" indent="-251949" algn="l" defTabSz="914216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17"/>
        </a:buBlip>
        <a:defRPr sz="2399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1913" indent="-179964" algn="l" defTabSz="91421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18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7870" indent="-179964" algn="l" defTabSz="914216" rtl="0" eaLnBrk="1" latinLnBrk="0" hangingPunct="1">
        <a:lnSpc>
          <a:spcPct val="120000"/>
        </a:lnSpc>
        <a:spcBef>
          <a:spcPts val="0"/>
        </a:spcBef>
        <a:buFontTx/>
        <a:buBlip>
          <a:blip r:embed="rId18"/>
        </a:buBlip>
        <a:defRPr sz="1999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094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2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0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7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4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2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0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4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5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4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714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9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3595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9770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3821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  <p:sldLayoutId id="2147484095" r:id="rId9"/>
    <p:sldLayoutId id="2147484096" r:id="rId10"/>
    <p:sldLayoutId id="2147484097" r:id="rId11"/>
    <p:sldLayoutId id="2147484098" r:id="rId12"/>
    <p:sldLayoutId id="2147484099" r:id="rId13"/>
    <p:sldLayoutId id="2147484100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405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  <p:sldLayoutId id="2147484113" r:id="rId12"/>
    <p:sldLayoutId id="2147484114" r:id="rId13"/>
    <p:sldLayoutId id="2147484115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17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18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18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Folie" r:id="rId20" imgW="174" imgH="174" progId="TCLayout.ActiveDocument.1">
                  <p:embed/>
                </p:oleObj>
              </mc:Choice>
              <mc:Fallback>
                <p:oleObj name="think-cell Folie" r:id="rId20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7926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3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4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4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85771B3-ED47-48CB-A8E9-4529FDE24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11167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85771B3-ED47-48CB-A8E9-4529FDE24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52F9F71-E35F-46D0-9181-32C1BA85DA41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66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3285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960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B419A72-E763-429A-9111-C9D8A7696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1688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Folie" r:id="rId20" imgW="174" imgH="174" progId="TCLayout.ActiveDocument.1">
                  <p:embed/>
                </p:oleObj>
              </mc:Choice>
              <mc:Fallback>
                <p:oleObj name="think-cell Folie" r:id="rId20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B419A72-E763-429A-9111-C9D8A7696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7332018-589D-4796-8CC6-1EFDDA69EC3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445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3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4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4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412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18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19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19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97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2" r:id="rId16"/>
    <p:sldLayoutId id="2147483863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0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1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1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8195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343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73019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5512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696307" y="2717528"/>
            <a:ext cx="9433088" cy="431903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DZ BANK – Repository Struktur</a:t>
            </a:r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CAB6D7ED-0709-4E8D-B02E-D229934DDC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321" y="85765"/>
            <a:ext cx="3079890" cy="994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767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87E3BE-ADED-4BA4-A6A0-D935A13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wünschte Verzeichnisstruktur (CI </a:t>
            </a:r>
            <a:r>
              <a:rPr lang="de-DE" dirty="0" err="1"/>
              <a:t>branch</a:t>
            </a:r>
            <a:r>
              <a:rPr lang="de-DE" dirty="0"/>
              <a:t>): Ziel = Eine </a:t>
            </a:r>
            <a:r>
              <a:rPr lang="de-DE" dirty="0" err="1"/>
              <a:t>jar</a:t>
            </a:r>
            <a:r>
              <a:rPr lang="de-DE" dirty="0"/>
              <a:t>-Datei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B9B305-8BBE-49E7-BADD-8AB20C0D7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1.03.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C5CC9F-CBC8-431A-BCB3-795F53565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46547-9E75-4519-86E4-2DB1EB19B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2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80883A2-65E9-4F0D-A98B-627D0BAA03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131" y="1605504"/>
            <a:ext cx="2306767" cy="3888330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BCE2C827-884E-45AE-86E8-509BE72DFE0C}"/>
              </a:ext>
            </a:extLst>
          </p:cNvPr>
          <p:cNvCxnSpPr/>
          <p:nvPr/>
        </p:nvCxnSpPr>
        <p:spPr>
          <a:xfrm>
            <a:off x="1331757" y="2854712"/>
            <a:ext cx="2244067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7CCC3E94-D5BA-4082-99F3-3EA2BA7C458D}"/>
              </a:ext>
            </a:extLst>
          </p:cNvPr>
          <p:cNvSpPr txBox="1"/>
          <p:nvPr/>
        </p:nvSpPr>
        <p:spPr>
          <a:xfrm>
            <a:off x="3645738" y="2762379"/>
            <a:ext cx="912109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 err="1"/>
              <a:t>zip</a:t>
            </a:r>
            <a:r>
              <a:rPr lang="de-DE" sz="1200" b="1" dirty="0"/>
              <a:t> benötigt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8D95215A-1779-4863-BC5D-D970F9E46D7F}"/>
              </a:ext>
            </a:extLst>
          </p:cNvPr>
          <p:cNvCxnSpPr>
            <a:cxnSpLocks/>
          </p:cNvCxnSpPr>
          <p:nvPr/>
        </p:nvCxnSpPr>
        <p:spPr>
          <a:xfrm>
            <a:off x="1223962" y="3728224"/>
            <a:ext cx="2351862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E847BEB4-CE9C-4AD7-9C99-ACDC87F26B06}"/>
              </a:ext>
            </a:extLst>
          </p:cNvPr>
          <p:cNvSpPr txBox="1"/>
          <p:nvPr/>
        </p:nvSpPr>
        <p:spPr>
          <a:xfrm>
            <a:off x="3595180" y="3635891"/>
            <a:ext cx="1925334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Wildwuchs an Versionen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C15622BC-7EA1-4D35-ADBF-F52D6E12F484}"/>
              </a:ext>
            </a:extLst>
          </p:cNvPr>
          <p:cNvCxnSpPr/>
          <p:nvPr/>
        </p:nvCxnSpPr>
        <p:spPr>
          <a:xfrm>
            <a:off x="1872000" y="4735551"/>
            <a:ext cx="1723180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CF506FF8-34B5-4321-97AA-589B4EB8E684}"/>
              </a:ext>
            </a:extLst>
          </p:cNvPr>
          <p:cNvSpPr txBox="1"/>
          <p:nvPr/>
        </p:nvSpPr>
        <p:spPr>
          <a:xfrm>
            <a:off x="3469934" y="4578381"/>
            <a:ext cx="8052141" cy="36933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Übergabepfad bei </a:t>
            </a:r>
            <a:r>
              <a:rPr lang="de-DE" sz="1200" b="1" dirty="0" err="1"/>
              <a:t>spark-submit</a:t>
            </a:r>
            <a:r>
              <a:rPr lang="de-DE" sz="1200" b="1" dirty="0"/>
              <a:t> oder </a:t>
            </a:r>
            <a:r>
              <a:rPr lang="de-DE" sz="1200" b="1" dirty="0" err="1"/>
              <a:t>cloud</a:t>
            </a:r>
            <a:r>
              <a:rPr lang="de-DE" sz="1200" b="1" dirty="0"/>
              <a:t> </a:t>
            </a:r>
            <a:r>
              <a:rPr lang="de-DE" sz="1200" b="1" dirty="0" err="1"/>
              <a:t>functions</a:t>
            </a:r>
            <a:r>
              <a:rPr lang="de-DE" sz="1200" b="1" dirty="0"/>
              <a:t> enthält unnötigen Ballast (komplettes Projekt)</a:t>
            </a:r>
          </a:p>
          <a:p>
            <a:pPr algn="ctr"/>
            <a:r>
              <a:rPr lang="de-DE" sz="1200" b="1" dirty="0" err="1"/>
              <a:t>class</a:t>
            </a:r>
            <a:r>
              <a:rPr lang="de-DE" sz="1200" b="1" dirty="0"/>
              <a:t> </a:t>
            </a:r>
            <a:r>
              <a:rPr lang="de-DE" sz="1200" b="1" dirty="0" err="1"/>
              <a:t>path</a:t>
            </a:r>
            <a:r>
              <a:rPr lang="de-DE" sz="1200" b="1" dirty="0"/>
              <a:t> enthält Dateien, die nicht zur Ausführung benötigt werden und Konflikte verursachen könn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ADB434E-C8B7-40BA-A0FF-4C710EB69A6A}"/>
              </a:ext>
            </a:extLst>
          </p:cNvPr>
          <p:cNvSpPr txBox="1"/>
          <p:nvPr/>
        </p:nvSpPr>
        <p:spPr>
          <a:xfrm>
            <a:off x="719999" y="5493834"/>
            <a:ext cx="673262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pom.xml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AD2199AC-49BF-4B70-8CB5-47F4DB415857}"/>
              </a:ext>
            </a:extLst>
          </p:cNvPr>
          <p:cNvCxnSpPr>
            <a:cxnSpLocks/>
          </p:cNvCxnSpPr>
          <p:nvPr/>
        </p:nvCxnSpPr>
        <p:spPr>
          <a:xfrm flipV="1">
            <a:off x="1459405" y="5586167"/>
            <a:ext cx="2135775" cy="3717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D7CF1C67-98AA-475C-A390-D5AAA5106B19}"/>
              </a:ext>
            </a:extLst>
          </p:cNvPr>
          <p:cNvSpPr txBox="1"/>
          <p:nvPr/>
        </p:nvSpPr>
        <p:spPr>
          <a:xfrm>
            <a:off x="3595180" y="5451893"/>
            <a:ext cx="7578421" cy="36933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Konflikte über transitive </a:t>
            </a:r>
            <a:r>
              <a:rPr lang="de-DE" sz="1200" b="1" dirty="0" err="1"/>
              <a:t>Dependencies</a:t>
            </a:r>
            <a:r>
              <a:rPr lang="de-DE" sz="1200" b="1" dirty="0"/>
              <a:t>, aufwändige Wartbarkeit, </a:t>
            </a:r>
            <a:r>
              <a:rPr lang="de-DE" sz="1200" b="1" dirty="0" err="1"/>
              <a:t>build</a:t>
            </a:r>
            <a:r>
              <a:rPr lang="de-DE" sz="1200" b="1" dirty="0"/>
              <a:t>-Prozess wird sehr komplex </a:t>
            </a:r>
          </a:p>
          <a:p>
            <a:pPr algn="ctr"/>
            <a:r>
              <a:rPr lang="de-DE" sz="1200" b="1" dirty="0"/>
              <a:t>(Mix aus </a:t>
            </a:r>
            <a:r>
              <a:rPr lang="de-DE" sz="1200" b="1" dirty="0" err="1"/>
              <a:t>jar</a:t>
            </a:r>
            <a:r>
              <a:rPr lang="de-DE" sz="1200" b="1" dirty="0"/>
              <a:t>, </a:t>
            </a:r>
            <a:r>
              <a:rPr lang="de-DE" sz="1200" b="1" dirty="0" err="1"/>
              <a:t>zip</a:t>
            </a:r>
            <a:r>
              <a:rPr lang="de-DE" sz="1200" b="1" dirty="0"/>
              <a:t>)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07D182A-1E29-4581-86DD-04668B3A9ABB}"/>
              </a:ext>
            </a:extLst>
          </p:cNvPr>
          <p:cNvCxnSpPr>
            <a:cxnSpLocks/>
          </p:cNvCxnSpPr>
          <p:nvPr/>
        </p:nvCxnSpPr>
        <p:spPr>
          <a:xfrm>
            <a:off x="1543630" y="4218878"/>
            <a:ext cx="2051550" cy="438376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228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87E3BE-ADED-4BA4-A6A0-D935A13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geschlagene Verzeichnisstruktur: Ziel = Modularer </a:t>
            </a:r>
            <a:r>
              <a:rPr lang="de-DE" dirty="0" err="1"/>
              <a:t>Build</a:t>
            </a:r>
            <a:r>
              <a:rPr lang="de-DE" dirty="0"/>
              <a:t>-Prozes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B9B305-8BBE-49E7-BADD-8AB20C0D7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1.03.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C5CC9F-CBC8-431A-BCB3-795F53565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46547-9E75-4519-86E4-2DB1EB19B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3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0BF9800-79BC-4948-BBBA-B0AB3F4379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18" y="1339536"/>
            <a:ext cx="2986683" cy="4422311"/>
          </a:xfrm>
          <a:prstGeom prst="rect">
            <a:avLst/>
          </a:prstGeom>
        </p:spPr>
      </p:pic>
      <p:graphicFrame>
        <p:nvGraphicFramePr>
          <p:cNvPr id="6" name="Tabelle 7">
            <a:extLst>
              <a:ext uri="{FF2B5EF4-FFF2-40B4-BE49-F238E27FC236}">
                <a16:creationId xmlns:a16="http://schemas.microsoft.com/office/drawing/2014/main" id="{9BD667F7-92B3-4262-A2A9-ECE1B6148F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1206080"/>
              </p:ext>
            </p:extLst>
          </p:nvPr>
        </p:nvGraphicFramePr>
        <p:xfrm>
          <a:off x="4261447" y="1339536"/>
          <a:ext cx="6031898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949">
                  <a:extLst>
                    <a:ext uri="{9D8B030D-6E8A-4147-A177-3AD203B41FA5}">
                      <a16:colId xmlns:a16="http://schemas.microsoft.com/office/drawing/2014/main" val="2068643604"/>
                    </a:ext>
                  </a:extLst>
                </a:gridCol>
                <a:gridCol w="3015949">
                  <a:extLst>
                    <a:ext uri="{9D8B030D-6E8A-4147-A177-3AD203B41FA5}">
                      <a16:colId xmlns:a16="http://schemas.microsoft.com/office/drawing/2014/main" val="1012165327"/>
                    </a:ext>
                  </a:extLst>
                </a:gridCol>
              </a:tblGrid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Vorte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achte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2422422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1694783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82518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17157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772882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9819452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3775351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5871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5740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189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jjlOiqzIZILjLpvaDx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AvTHKPg7PfXtGWu7sc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heme/theme1.xml><?xml version="1.0" encoding="utf-8"?>
<a:theme xmlns:a="http://schemas.openxmlformats.org/drawingml/2006/main" name="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0.xml><?xml version="1.0" encoding="utf-8"?>
<a:theme xmlns:a="http://schemas.openxmlformats.org/drawingml/2006/main" name="21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1.xml><?xml version="1.0" encoding="utf-8"?>
<a:theme xmlns:a="http://schemas.openxmlformats.org/drawingml/2006/main" name="10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2.xml><?xml version="1.0" encoding="utf-8"?>
<a:theme xmlns:a="http://schemas.openxmlformats.org/drawingml/2006/main" name="22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3.xml><?xml version="1.0" encoding="utf-8"?>
<a:theme xmlns:a="http://schemas.openxmlformats.org/drawingml/2006/main" name="23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4.xml><?xml version="1.0" encoding="utf-8"?>
<a:theme xmlns:a="http://schemas.openxmlformats.org/drawingml/2006/main" name="12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5.xml><?xml version="1.0" encoding="utf-8"?>
<a:theme xmlns:a="http://schemas.openxmlformats.org/drawingml/2006/main" name="5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3.xml><?xml version="1.0" encoding="utf-8"?>
<a:theme xmlns:a="http://schemas.openxmlformats.org/drawingml/2006/main" name="3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4.xml><?xml version="1.0" encoding="utf-8"?>
<a:theme xmlns:a="http://schemas.openxmlformats.org/drawingml/2006/main" name="15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5.xml><?xml version="1.0" encoding="utf-8"?>
<a:theme xmlns:a="http://schemas.openxmlformats.org/drawingml/2006/main" name="6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6.xml><?xml version="1.0" encoding="utf-8"?>
<a:theme xmlns:a="http://schemas.openxmlformats.org/drawingml/2006/main" name="8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7.xml><?xml version="1.0" encoding="utf-8"?>
<a:theme xmlns:a="http://schemas.openxmlformats.org/drawingml/2006/main" name="9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8.xml><?xml version="1.0" encoding="utf-8"?>
<a:theme xmlns:a="http://schemas.openxmlformats.org/drawingml/2006/main" name="16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9.xml><?xml version="1.0" encoding="utf-8"?>
<a:theme xmlns:a="http://schemas.openxmlformats.org/drawingml/2006/main" name="19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yperlink xmlns="5945c407-0757-4df6-8c4a-6c977f0dfe4c">
      <Url xsi:nil="true"/>
      <Description xsi:nil="true"/>
    </Hyperlink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681997E16230C46BB2D82801A7CEF71" ma:contentTypeVersion="13" ma:contentTypeDescription="Ein neues Dokument erstellen." ma:contentTypeScope="" ma:versionID="dd1328652bd55ee926ca591425b21bcf">
  <xsd:schema xmlns:xsd="http://www.w3.org/2001/XMLSchema" xmlns:xs="http://www.w3.org/2001/XMLSchema" xmlns:p="http://schemas.microsoft.com/office/2006/metadata/properties" xmlns:ns2="5945c407-0757-4df6-8c4a-6c977f0dfe4c" xmlns:ns3="1a5effe4-e61f-42e6-b439-2d91e35a1401" targetNamespace="http://schemas.microsoft.com/office/2006/metadata/properties" ma:root="true" ma:fieldsID="bb4365d5218c0c29552c448dbb6b6a9c" ns2:_="" ns3:_="">
    <xsd:import namespace="5945c407-0757-4df6-8c4a-6c977f0dfe4c"/>
    <xsd:import namespace="1a5effe4-e61f-42e6-b439-2d91e35a14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Hyperlink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45c407-0757-4df6-8c4a-6c977f0dfe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Hyperlink" ma:index="18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5effe4-e61f-42e6-b439-2d91e35a140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ADF0A8-FFDA-4C23-86F0-00A9B58EBE0E}">
  <ds:schemaRefs>
    <ds:schemaRef ds:uri="http://schemas.microsoft.com/office/infopath/2007/PartnerControls"/>
    <ds:schemaRef ds:uri="http://schemas.microsoft.com/office/2006/metadata/properties"/>
    <ds:schemaRef ds:uri="1a5effe4-e61f-42e6-b439-2d91e35a1401"/>
    <ds:schemaRef ds:uri="http://schemas.microsoft.com/office/2006/documentManagement/types"/>
    <ds:schemaRef ds:uri="http://www.w3.org/XML/1998/namespace"/>
    <ds:schemaRef ds:uri="5945c407-0757-4df6-8c4a-6c977f0dfe4c"/>
    <ds:schemaRef ds:uri="http://purl.org/dc/dcmitype/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7FC6447A-A201-4164-A14D-D5ABC63365F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F0A0C2A-1E3A-41C9-9729-386D9EA1ABFE}">
  <ds:schemaRefs>
    <ds:schemaRef ds:uri="1a5effe4-e61f-42e6-b439-2d91e35a1401"/>
    <ds:schemaRef ds:uri="5945c407-0757-4df6-8c4a-6c977f0dfe4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ESSO-2016</Template>
  <TotalTime>0</TotalTime>
  <Words>97</Words>
  <Application>Microsoft Office PowerPoint</Application>
  <PresentationFormat>Benutzerdefiniert</PresentationFormat>
  <Paragraphs>20</Paragraphs>
  <Slides>3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5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</vt:i4>
      </vt:variant>
    </vt:vector>
  </HeadingPairs>
  <TitlesOfParts>
    <vt:vector size="25" baseType="lpstr">
      <vt:lpstr>Arial</vt:lpstr>
      <vt:lpstr>Open Sans</vt:lpstr>
      <vt:lpstr>Open Sans Semibold</vt:lpstr>
      <vt:lpstr>Symbol</vt:lpstr>
      <vt:lpstr>Wingdings</vt:lpstr>
      <vt:lpstr>ADESSO-2016</vt:lpstr>
      <vt:lpstr>2_ADESSO-2016</vt:lpstr>
      <vt:lpstr>3_ADESSO-2016</vt:lpstr>
      <vt:lpstr>15_ADESSO-2016</vt:lpstr>
      <vt:lpstr>6_ADESSO-2016</vt:lpstr>
      <vt:lpstr>8_ADESSO-2016</vt:lpstr>
      <vt:lpstr>9_ADESSO-2016</vt:lpstr>
      <vt:lpstr>16_ADESSO-2016</vt:lpstr>
      <vt:lpstr>19_ADESSO-2016</vt:lpstr>
      <vt:lpstr>21_ADESSO-2016</vt:lpstr>
      <vt:lpstr>10_ADESSO-2016</vt:lpstr>
      <vt:lpstr>22_ADESSO-2016</vt:lpstr>
      <vt:lpstr>23_ADESSO-2016</vt:lpstr>
      <vt:lpstr>12_ADESSO-2016</vt:lpstr>
      <vt:lpstr>5_ADESSO-2016</vt:lpstr>
      <vt:lpstr>think-cell Folie</vt:lpstr>
      <vt:lpstr>think-cell Slide</vt:lpstr>
      <vt:lpstr>DZ BANK – Repository Struktur</vt:lpstr>
      <vt:lpstr>Gewünschte Verzeichnisstruktur (CI branch): Ziel = Eine jar-Datei</vt:lpstr>
      <vt:lpstr>Vorgeschlagene Verzeichnisstruktur: Ziel = Modularer Build-Prozes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EBOTSPRÄSENTATION</dc:title>
  <dc:creator>Microsoft Office-Benutzer</dc:creator>
  <cp:lastModifiedBy>Polzer, Thomas</cp:lastModifiedBy>
  <cp:revision>71</cp:revision>
  <cp:lastPrinted>2020-10-15T11:16:35Z</cp:lastPrinted>
  <dcterms:created xsi:type="dcterms:W3CDTF">2018-09-12T08:16:32Z</dcterms:created>
  <dcterms:modified xsi:type="dcterms:W3CDTF">2021-03-12T15:3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81997E16230C46BB2D82801A7CEF71</vt:lpwstr>
  </property>
</Properties>
</file>